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xlsb" ContentType="application/vnd.ms-excel.sheet.binary.macroEnabled.12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195.xml" ContentType="application/vnd.openxmlformats-officedocument.presentationml.slide+xml"/>
  <Override PartName="/ppt/tags/tag712.xml" ContentType="application/vnd.openxmlformats-officedocument.presentationml.tags+xml"/>
  <Override PartName="/ppt/tags/tag717.xml" ContentType="application/vnd.openxmlformats-officedocument.presentationml.tags+xml"/>
  <Override PartName="/ppt/tags/tag725.xml" ContentType="application/vnd.openxmlformats-officedocument.presentationml.tags+xml"/>
  <Override PartName="/ppt/tags/tag720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706.xml" ContentType="application/vnd.openxmlformats-officedocument.presentationml.tags+xml"/>
  <Override PartName="/ppt/tags/tag711.xml" ContentType="application/vnd.openxmlformats-officedocument.presentationml.tags+xml"/>
  <Override PartName="/ppt/tags/tag716.xml" ContentType="application/vnd.openxmlformats-officedocument.presentationml.tags+xml"/>
  <Override PartName="/ppt/tags/tag724.xml" ContentType="application/vnd.openxmlformats-officedocument.presentationml.tags+xml"/>
  <Override PartName="/ppt/tags/tag732.xml" ContentType="application/vnd.openxmlformats-officedocument.presentationml.tags+xml"/>
  <Override PartName="/ppt/charts/chart24.xml" ContentType="application/vnd.openxmlformats-officedocument.drawingml.chart+xml"/>
  <Override PartName="/ppt/tags/tag701.xml" ContentType="application/vnd.openxmlformats-officedocument.presentationml.tags+xml"/>
  <Override PartName="/ppt/tags/tag715.xml" ContentType="application/vnd.openxmlformats-officedocument.presentationml.tags+xml"/>
  <Override PartName="/ppt/tags/tag719.xml" ContentType="application/vnd.openxmlformats-officedocument.presentationml.tags+xml"/>
  <Override PartName="/ppt/tags/tag728.xml" ContentType="application/vnd.openxmlformats-officedocument.presentationml.tags+xml"/>
  <Override PartName="/ppt/tags/tag705.xml" ContentType="application/vnd.openxmlformats-officedocument.presentationml.tags+xml"/>
  <Override PartName="/ppt/tags/tag710.xml" ContentType="application/vnd.openxmlformats-officedocument.presentationml.tags+xml"/>
  <Override PartName="/ppt/tags/tag723.xml" ContentType="application/vnd.openxmlformats-officedocument.presentationml.tags+xml"/>
  <Override PartName="/ppt/tags/tag731.xml" ContentType="application/vnd.openxmlformats-officedocument.presentationml.tags+xml"/>
  <Override PartName="/ppt/tags/tag704.xml" ContentType="application/vnd.openxmlformats-officedocument.presentationml.tags+xml"/>
  <Override PartName="/ppt/tags/tag714.xml" ContentType="application/vnd.openxmlformats-officedocument.presentationml.tags+xml"/>
  <Override PartName="/ppt/tags/tag722.xml" ContentType="application/vnd.openxmlformats-officedocument.presentationml.tags+xml"/>
  <Override PartName="/ppt/tags/tag727.xml" ContentType="application/vnd.openxmlformats-officedocument.presentationml.tags+xml"/>
  <Override PartName="/ppt/tags/tag709.xml" ContentType="application/vnd.openxmlformats-officedocument.presentationml.tags+xml"/>
  <Override PartName="/ppt/tags/tag718.xml" ContentType="application/vnd.openxmlformats-officedocument.presentationml.tags+xml"/>
  <Override PartName="/ppt/tags/tag730.xml" ContentType="application/vnd.openxmlformats-officedocument.presentationml.tags+xml"/>
  <Override PartName="/ppt/tags/tag703.xml" ContentType="application/vnd.openxmlformats-officedocument.presentationml.tags+xml"/>
  <Override PartName="/ppt/tags/tag708.xml" ContentType="application/vnd.openxmlformats-officedocument.presentationml.tags+xml"/>
  <Override PartName="/ppt/tags/tag713.xml" ContentType="application/vnd.openxmlformats-officedocument.presentationml.tags+xml"/>
  <Override PartName="/ppt/tags/tag721.xml" ContentType="application/vnd.openxmlformats-officedocument.presentationml.tags+xml"/>
  <Override PartName="/ppt/tags/tag726.xml" ContentType="application/vnd.openxmlformats-officedocument.presentationml.tags+xml"/>
  <Override PartName="/ppt/tags/tag729.xml" ContentType="application/vnd.openxmlformats-officedocument.presentationml.tags+xml"/>
  <Override PartName="/ppt/notesSlides/notesSlide195.xml" ContentType="application/vnd.openxmlformats-officedocument.presentationml.notesSlide+xml"/>
  <Override PartName="/ppt/tags/tag707.xml" ContentType="application/vnd.openxmlformats-officedocument.presentationml.tags+xml"/>
  <Override PartName="/ppt/tags/tag702.xml" ContentType="application/vnd.openxmlformats-officedocument.presentationml.tag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22" r:id="rId19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195.xml" Id="rId198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24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23.xlsb" Id="rId1" /></Relationships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369750205874279E-3"/>
          <c:y val="6.8149717514124297E-2"/>
          <c:w val="0.98572604995882518"/>
          <c:h val="0.863700564971751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9C2F-4150-938F-04CCF88EEEAB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9C2F-4150-938F-04CCF88EEEA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9C2F-4150-938F-04CCF88EEEAB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C2F-4150-938F-04CCF88EEEA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C2F-4150-938F-04CCF88EEEA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C2F-4150-938F-04CCF88EEEAB}"/>
                </c:ext>
              </c:extLst>
            </c:dLbl>
            <c:dLbl>
              <c:idx val="3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C2F-4150-938F-04CCF88EEEAB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C2F-4150-938F-04CCF88EEEAB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C2F-4150-938F-04CCF88EEEAB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C2F-4150-938F-04CCF88EEEAB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C2F-4150-938F-04CCF88EEEAB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C2F-4150-938F-04CCF88EEEA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8</c:v>
                </c:pt>
                <c:pt idx="1">
                  <c:v>8.2149999999999999</c:v>
                </c:pt>
                <c:pt idx="2">
                  <c:v>10.88</c:v>
                </c:pt>
                <c:pt idx="3">
                  <c:v>16.701000000000001</c:v>
                </c:pt>
                <c:pt idx="4">
                  <c:v>13.846000000000002</c:v>
                </c:pt>
                <c:pt idx="5">
                  <c:v>25.056000000000001</c:v>
                </c:pt>
                <c:pt idx="6">
                  <c:v>25.706999999999997</c:v>
                </c:pt>
                <c:pt idx="7">
                  <c:v>29.447466666666699</c:v>
                </c:pt>
                <c:pt idx="8">
                  <c:v>33.079838095238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C2F-4150-938F-04CCF88EEEAB}"/>
            </c:ext>
          </c:extLst>
        </c:ser>
        <c:ser>
          <c:idx val="1"/>
          <c:order val="1"/>
          <c:spPr>
            <a:solidFill>
              <a:schemeClr val="accent5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9C2F-4150-938F-04CCF88EEEAB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9C2F-4150-938F-04CCF88EEEA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9C2F-4150-938F-04CCF88EEEAB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C2F-4150-938F-04CCF88EEEA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9C2F-4150-938F-04CCF88EEEA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9C2F-4150-938F-04CCF88EEEAB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9C2F-4150-938F-04CCF88EEEAB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C2F-4150-938F-04CCF88EEEAB}"/>
                </c:ext>
              </c:extLst>
            </c:dLbl>
            <c:dLbl>
              <c:idx val="5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C2F-4150-938F-04CCF88EEEAB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9C2F-4150-938F-04CCF88EEEAB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9C2F-4150-938F-04CCF88EEEAB}"/>
                </c:ext>
              </c:extLst>
            </c:dLbl>
            <c:dLbl>
              <c:idx val="8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9C2F-4150-938F-04CCF88EEEA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32</c:v>
                </c:pt>
                <c:pt idx="1">
                  <c:v>33.5</c:v>
                </c:pt>
                <c:pt idx="2">
                  <c:v>34.200000000000003</c:v>
                </c:pt>
                <c:pt idx="3">
                  <c:v>36.299999999999997</c:v>
                </c:pt>
                <c:pt idx="4">
                  <c:v>37.1</c:v>
                </c:pt>
                <c:pt idx="5">
                  <c:v>35.200000000000003</c:v>
                </c:pt>
                <c:pt idx="6">
                  <c:v>37.100000000000009</c:v>
                </c:pt>
                <c:pt idx="7">
                  <c:v>41.3</c:v>
                </c:pt>
                <c:pt idx="8">
                  <c:v>4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9C2F-4150-938F-04CCF88EEE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12467888"/>
        <c:axId val="1"/>
      </c:barChart>
      <c:catAx>
        <c:axId val="3124678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124678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99.vml.rels>&#65279;<?xml version="1.0" encoding="utf-8"?><Relationships xmlns="http://schemas.openxmlformats.org/package/2006/relationships"><Relationship Type="http://schemas.openxmlformats.org/officeDocument/2006/relationships/image" Target="/ppt/media/image21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95.xml.rels>&#65279;<?xml version="1.0" encoding="utf-8"?><Relationships xmlns="http://schemas.openxmlformats.org/package/2006/relationships"><Relationship Type="http://schemas.openxmlformats.org/officeDocument/2006/relationships/slide" Target="/ppt/slides/slide195.xml" Id="rId2" /><Relationship Type="http://schemas.openxmlformats.org/officeDocument/2006/relationships/notesMaster" Target="/ppt/notesMasters/notesMaster1.xml" Id="rId1" /></Relationships>
</file>

<file path=ppt/notesSlides/notesSlide1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80669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95.xml.rels>&#65279;<?xml version="1.0" encoding="utf-8"?><Relationships xmlns="http://schemas.openxmlformats.org/package/2006/relationships"><Relationship Type="http://schemas.openxmlformats.org/officeDocument/2006/relationships/tags" Target="/ppt/tags/tag712.xml" Id="rId13" /><Relationship Type="http://schemas.openxmlformats.org/officeDocument/2006/relationships/tags" Target="/ppt/tags/tag717.xml" Id="rId18" /><Relationship Type="http://schemas.openxmlformats.org/officeDocument/2006/relationships/tags" Target="/ppt/tags/tag725.xml" Id="rId26" /><Relationship Type="http://schemas.openxmlformats.org/officeDocument/2006/relationships/tags" Target="/ppt/tags/tag720.xml" Id="rId21" /><Relationship Type="http://schemas.openxmlformats.org/officeDocument/2006/relationships/slideLayout" Target="/ppt/slideLayouts/slideLayout5.xml" Id="rId34" /><Relationship Type="http://schemas.openxmlformats.org/officeDocument/2006/relationships/tags" Target="/ppt/tags/tag706.xml" Id="rId7" /><Relationship Type="http://schemas.openxmlformats.org/officeDocument/2006/relationships/tags" Target="/ppt/tags/tag711.xml" Id="rId12" /><Relationship Type="http://schemas.openxmlformats.org/officeDocument/2006/relationships/tags" Target="/ppt/tags/tag716.xml" Id="rId17" /><Relationship Type="http://schemas.openxmlformats.org/officeDocument/2006/relationships/tags" Target="/ppt/tags/tag724.xml" Id="rId25" /><Relationship Type="http://schemas.openxmlformats.org/officeDocument/2006/relationships/tags" Target="/ppt/tags/tag732.xml" Id="rId33" /><Relationship Type="http://schemas.openxmlformats.org/officeDocument/2006/relationships/chart" Target="/ppt/charts/chart24.xml" Id="rId38" /><Relationship Type="http://schemas.openxmlformats.org/officeDocument/2006/relationships/tags" Target="/ppt/tags/tag701.xml" Id="rId2" /><Relationship Type="http://schemas.openxmlformats.org/officeDocument/2006/relationships/tags" Target="/ppt/tags/tag715.xml" Id="rId16" /><Relationship Type="http://schemas.openxmlformats.org/officeDocument/2006/relationships/tags" Target="/ppt/tags/tag719.xml" Id="rId20" /><Relationship Type="http://schemas.openxmlformats.org/officeDocument/2006/relationships/tags" Target="/ppt/tags/tag728.xml" Id="rId29" /><Relationship Type="http://schemas.openxmlformats.org/officeDocument/2006/relationships/vmlDrawing" Target="/ppt/drawings/vmlDrawing199.vml" Id="rId1" /><Relationship Type="http://schemas.openxmlformats.org/officeDocument/2006/relationships/tags" Target="/ppt/tags/tag705.xml" Id="rId6" /><Relationship Type="http://schemas.openxmlformats.org/officeDocument/2006/relationships/tags" Target="/ppt/tags/tag710.xml" Id="rId11" /><Relationship Type="http://schemas.openxmlformats.org/officeDocument/2006/relationships/tags" Target="/ppt/tags/tag723.xml" Id="rId24" /><Relationship Type="http://schemas.openxmlformats.org/officeDocument/2006/relationships/tags" Target="/ppt/tags/tag731.xml" Id="rId32" /><Relationship Type="http://schemas.openxmlformats.org/officeDocument/2006/relationships/image" Target="/ppt/media/image211.emf" Id="rId37" /><Relationship Type="http://schemas.openxmlformats.org/officeDocument/2006/relationships/tags" Target="/ppt/tags/tag704.xml" Id="rId5" /><Relationship Type="http://schemas.openxmlformats.org/officeDocument/2006/relationships/tags" Target="/ppt/tags/tag714.xml" Id="rId15" /><Relationship Type="http://schemas.openxmlformats.org/officeDocument/2006/relationships/tags" Target="/ppt/tags/tag722.xml" Id="rId23" /><Relationship Type="http://schemas.openxmlformats.org/officeDocument/2006/relationships/tags" Target="/ppt/tags/tag727.xml" Id="rId28" /><Relationship Type="http://schemas.openxmlformats.org/officeDocument/2006/relationships/oleObject" Target="/ppt/embeddings/oleObject199.bin" Id="rId36" /><Relationship Type="http://schemas.openxmlformats.org/officeDocument/2006/relationships/tags" Target="/ppt/tags/tag709.xml" Id="rId10" /><Relationship Type="http://schemas.openxmlformats.org/officeDocument/2006/relationships/tags" Target="/ppt/tags/tag718.xml" Id="rId19" /><Relationship Type="http://schemas.openxmlformats.org/officeDocument/2006/relationships/tags" Target="/ppt/tags/tag730.xml" Id="rId31" /><Relationship Type="http://schemas.openxmlformats.org/officeDocument/2006/relationships/tags" Target="/ppt/tags/tag703.xml" Id="rId4" /><Relationship Type="http://schemas.openxmlformats.org/officeDocument/2006/relationships/tags" Target="/ppt/tags/tag708.xml" Id="rId9" /><Relationship Type="http://schemas.openxmlformats.org/officeDocument/2006/relationships/tags" Target="/ppt/tags/tag713.xml" Id="rId14" /><Relationship Type="http://schemas.openxmlformats.org/officeDocument/2006/relationships/tags" Target="/ppt/tags/tag721.xml" Id="rId22" /><Relationship Type="http://schemas.openxmlformats.org/officeDocument/2006/relationships/tags" Target="/ppt/tags/tag726.xml" Id="rId27" /><Relationship Type="http://schemas.openxmlformats.org/officeDocument/2006/relationships/tags" Target="/ppt/tags/tag729.xml" Id="rId30" /><Relationship Type="http://schemas.openxmlformats.org/officeDocument/2006/relationships/notesSlide" Target="/ppt/notesSlides/notesSlide195.xml" Id="rId35" /><Relationship Type="http://schemas.openxmlformats.org/officeDocument/2006/relationships/tags" Target="/ppt/tags/tag707.xml" Id="rId8" /><Relationship Type="http://schemas.openxmlformats.org/officeDocument/2006/relationships/tags" Target="/ppt/tags/tag702.xml" Id="rId3" /></Relationships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A92511-01E3-3B4D-9CD3-912E972EC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8929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35" name="think-cell 幻灯片" r:id="rId36" imgW="360" imgH="360" progId="TCLayout.ActiveDocument.1">
                  <p:embed/>
                </p:oleObj>
              </mc:Choice>
              <mc:Fallback>
                <p:oleObj name="think-cell 幻灯片" r:id="rId36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92511-01E3-3B4D-9CD3-912E972EC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457DD58-D135-BDE3-D4CA-85EAE8423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Annotations: Multiple total difference arrows</a:t>
            </a:r>
          </a:p>
        </p:txBody>
      </p:sp>
      <p:graphicFrame>
        <p:nvGraphicFramePr>
          <p:cNvPr id="39" name="Chart 3">
            <a:extLst>
              <a:ext uri="{FF2B5EF4-FFF2-40B4-BE49-F238E27FC236}">
                <a16:creationId xmlns:a16="http://schemas.microsoft.com/office/drawing/2014/main" id="{0FC09066-87A0-49D0-8FAF-F90A5A2AB69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83204070"/>
              </p:ext>
            </p:extLst>
          </p:nvPr>
        </p:nvGraphicFramePr>
        <p:xfrm>
          <a:off x="320675" y="1258888"/>
          <a:ext cx="11566525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EADC88FE-99ED-ED19-FA9A-F5F74A9C1A09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V="1">
            <a:off x="6103938" y="2266950"/>
            <a:ext cx="0" cy="5778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B7D1281-DF52-58EA-E4E1-7F13B99EA6E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103938" y="2266950"/>
            <a:ext cx="12287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8F5C08F-31F8-F22F-3B70-CC247A89DE67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7332663" y="22669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8E3579F-4A4C-3EE6-7791-ED7138BCF940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V="1">
            <a:off x="7408863" y="1963738"/>
            <a:ext cx="0" cy="4556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0E29373-C22D-4469-AB69-B817C975AAF9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7408863" y="1963738"/>
            <a:ext cx="12287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3369424-D215-FCFC-97FA-C4FEAD4C5423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8637588" y="1963738"/>
            <a:ext cx="0" cy="3397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B04653B1-7CC7-16E5-8D89-C132891CFD0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064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929D334E-1285-48A7-969C-23CDA35E23B5}" type="datetime'''''''''''''2''''''''''0''''''''''''''''''''''''2''2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2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E2B7F7DF-0EC6-9E2D-F77C-DF4FBE90012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073275" y="5507038"/>
            <a:ext cx="460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419CADA-551E-4536-AE1C-AD93232037A9}" type="datetime'''''''''2''''''''0''''''''''''''2''''3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3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41EAFAB6-5B04-42A9-4D49-252CAA4F2B5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3385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ED5D5C8-FBF3-4E9E-8E87-F876B54B1A89}" type="datetime'''''''''''''''''''''''2''''0''''''2''''''''''''''4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4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C6853431-4E80-F0CA-A60A-696DB061F1C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605338" y="550703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B71E87D-8020-4DCA-A153-67395C1DDC61}" type="datetime'''2''02''5''''''''''''''''''''''''''''''''''''''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5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FF2579BA-910E-68A4-02AF-366A41A9446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8737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E5608F5-00AA-4FA8-A212-F62A050103A8}" type="datetime'''2''''''''''''0''''''''''2''''''6''''''''''''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6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5" name="Text Placeholder 33">
            <a:extLst>
              <a:ext uri="{FF2B5EF4-FFF2-40B4-BE49-F238E27FC236}">
                <a16:creationId xmlns:a16="http://schemas.microsoft.com/office/drawing/2014/main" id="{4D11FCAB-8310-9FC0-E121-E8E50A808E6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146925" y="5507038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6F12884-50BD-48BF-8451-0BB35AF2CD2F}" type="datetime'''''2''''''''0''''''''''''''''2''''''''''''''''''''''7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7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D2DE583F-8268-2428-521A-A98DA12DB6F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4058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E254936-7981-4AC9-9796-BD91E9D3B429}" type="datetime'''2''''''''0''''''''2''''''''8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8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2647D264-6006-28EE-867F-EA5A5CB21AE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674225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D88EAC4-0E03-4DE4-9D6E-9704636C042C}" type="datetime'''''''''''''''2''''''''''''''''''0''2''''''''''''''''9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9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5A1F1E7C-21EA-EFE5-C44E-BF1FD1D9DF5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93946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C3B0F41B-F0F1-4A95-860C-ADA4A6A0B04C}" type="datetime'2''''''''''''''''''0''''''''''3''''''0''''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30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14388" y="3382963"/>
            <a:ext cx="4460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68C8B24-2FCA-4050-9222-07864E1FC1C0}" type="datetime'''''''''4''''''''''''''''''''0.''''''''''0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111376" y="3305175"/>
            <a:ext cx="385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DC9FF5F-ECE4-407B-857E-440FD42955B2}" type="datetime'''''''''''''''''''4''1''.''''''''''''''''7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.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370263" y="3151188"/>
            <a:ext cx="401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1C53A5-ABE1-4BE7-A29D-BB1851073958}" type="datetime'''''''''4''''5.''''''''''''''''''''''1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.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618038" y="2789238"/>
            <a:ext cx="438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A34482A-3593-4C9B-974F-789845E8E7D1}" type="datetime'''''''''''''''''''''''''''''''5''''3''''''''''''.0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.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884863" y="2882900"/>
            <a:ext cx="439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669FEE4-1B5C-4279-8654-005BE2456449}" type="datetime'''''''''''5''''''''''''''''''0''''''''''''''''''''.''''''9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.9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153275" y="2457450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DB326C3-E5DA-4A3E-8997-F088AC6D68EE}" type="datetime'''''''''''''''''''6''0''''''.''3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.3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420100" y="2341563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CDB97FD-7023-417B-94AC-C278069AFD49}" type="datetime'''''''''6''''2''.''''''''8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8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9699625" y="197802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0BE7745-F7E6-47E3-BE66-CB3EAC3E1DF3}" type="datetime'''''''''7''''''''''''0''''.''''''''''7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0961688" y="171608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3F48F98-2AC0-40A9-8B9E-6A6E071D35DA}" type="datetime'''''''''''''''''''''''7''''''6.''''''''''''''''''''''''''5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318250" y="1965324"/>
            <a:ext cx="801688" cy="6032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BF4F8D-A988-4B04-BBE5-439108E2DF56}" type="datetime'''''''+''''''''''''''18''''''''''''''''''''''%''''''''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8%</a:t>
            </a:fld>
            <a:br>
              <a:rPr lang="en-US" altLang="en-US" sz="1400" b="1" dirty="0">
                <a:solidFill>
                  <a:schemeClr val="bg2">
                    <a:lumMod val="10000"/>
                  </a:schemeClr>
                </a:solidFill>
                <a:effectLst/>
              </a:rPr>
            </a:br>
            <a:r>
              <a:rPr lang="en-US" altLang="en-US" sz="1400" b="1" dirty="0">
                <a:solidFill>
                  <a:schemeClr val="bg2">
                    <a:lumMod val="10000"/>
                  </a:schemeClr>
                </a:solidFill>
                <a:effectLst/>
              </a:rPr>
              <a:t>(</a:t>
            </a:r>
            <a:fld id="{F0C8D936-29C1-46AF-86C2-E7C683709E54}" type="datetime'''''''''+''''''''''''''''''9.3''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9.3</a:t>
            </a:fld>
            <a:r>
              <a:rPr lang="en-US" altLang="en-US" sz="1400" b="1" dirty="0">
                <a:solidFill>
                  <a:schemeClr val="bg2">
                    <a:lumMod val="10000"/>
                  </a:schemeClr>
                </a:solidFill>
                <a:effectLst/>
              </a:rPr>
              <a:t>)</a:t>
            </a:r>
            <a:endParaRPr lang="en-US" sz="1400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623175" y="1662113"/>
            <a:ext cx="801688" cy="6032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9F84459-BF94-4F3C-AA27-27104587B729}" type="datetime'''''''''''+4%'">
              <a:rPr lang="en-US" altLang="en-US" sz="1400" b="1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4%</a:t>
            </a:fld>
            <a:br>
              <a:rPr lang="en-US" altLang="en-US" sz="1400" b="1">
                <a:solidFill>
                  <a:schemeClr val="bg2">
                    <a:lumMod val="10000"/>
                  </a:schemeClr>
                </a:solidFill>
                <a:effectLst/>
              </a:rPr>
            </a:br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  <a:effectLst/>
              </a:rPr>
              <a:t>(</a:t>
            </a:r>
            <a:fld id="{597A39F0-18D1-4ACA-8CF0-474661B38E23}" type="datetime'''''''+''''''2''''''''.''''6''''''''''''''''''''''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2.6</a:t>
            </a:fld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  <a:effectLst/>
              </a:rPr>
              <a:t>)</a:t>
            </a:r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BF0E804-7D21-325E-53FB-1A7530437E1F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474663" y="1641475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AF548BC-1008-60E0-E47C-5CC4270277CF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474663" y="1905000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354DFD-F296-85E6-0EE3-B091CAE79D4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76288" y="1636713"/>
            <a:ext cx="173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AF7F36DB-2003-4E52-B151-F86053675846}" type="datetime'''''''Re''ven''''''''''''ue'' ''''E''''''''MEA,'' $''bn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2" indent="0">
                <a:spcBef>
                  <a:spcPct val="0"/>
                </a:spcBef>
                <a:spcAft>
                  <a:spcPct val="0"/>
                </a:spcAft>
                <a:buNone/>
              </a:pPr>
              <a:t>Revenue EMEA, $bn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76288" y="1900238"/>
            <a:ext cx="2035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A2C74BA5-8C47-49EC-BCDB-D0D2EA8F15D4}" type="datetime'Revenu''e A''''''''''''''me''''r''i''cas'''', $b''''''n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2" indent="0">
                <a:spcBef>
                  <a:spcPct val="0"/>
                </a:spcBef>
                <a:spcAft>
                  <a:spcPct val="0"/>
                </a:spcAft>
                <a:buNone/>
              </a:pPr>
              <a:t>Revenue Americas, $bn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DDAC2256-81DC-EF3A-5F34-0BB9D376276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26907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arrow, stacked, column, columns, bar, bars, think-cell, chart, charts, graph, graphs</a:t>
            </a:r>
          </a:p>
        </p:txBody>
      </p:sp>
      <p:sp>
        <p:nvSpPr>
          <p:cNvPr id="23" name="Rectangle 18">
            <a:extLst>
              <a:ext uri="{FF2B5EF4-FFF2-40B4-BE49-F238E27FC236}">
                <a16:creationId xmlns:a16="http://schemas.microsoft.com/office/drawing/2014/main" id="{B3C2C46E-6FC2-1460-CA89-59879EE722B4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the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CAGR arrows, difference arrow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the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5E8ED465-D755-5687-BC6D-3985B137FEC9}"/>
              </a:ext>
            </a:extLst>
          </p:cNvPr>
          <p:cNvSpPr txBox="1">
            <a:spLocks/>
          </p:cNvSpPr>
          <p:nvPr/>
        </p:nvSpPr>
        <p:spPr>
          <a:xfrm>
            <a:off x="407987" y="886115"/>
            <a:ext cx="6254854" cy="67197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400" b="0" dirty="0"/>
              <a:t>Insert a total difference arrow to show the difference between two totals.</a:t>
            </a:r>
          </a:p>
          <a:p>
            <a:pPr>
              <a:defRPr/>
            </a:pPr>
            <a:r>
              <a:rPr lang="en-US" sz="1400" b="0" dirty="0"/>
              <a:t>Double-click the arrow to change its direction.</a:t>
            </a:r>
          </a:p>
          <a:p>
            <a:pPr>
              <a:defRPr/>
            </a:pPr>
            <a:r>
              <a:rPr lang="en-US" sz="1400" b="0" dirty="0"/>
              <a:t>Select the total difference label to switch between percent and absolute values.</a:t>
            </a:r>
          </a:p>
        </p:txBody>
      </p:sp>
    </p:spTree>
    <p:extLst>
      <p:ext uri="{BB962C8B-B14F-4D97-AF65-F5344CB8AC3E}">
        <p14:creationId xmlns:p14="http://schemas.microsoft.com/office/powerpoint/2010/main" val="13799398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YcCf_plSK62QpxZivTHw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377OV6vAabMhghxMuv3g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iyRzu0gHKBfUCcsbuFww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6v5Lm6faNTeIIqGKxagQ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LG4WcdbzzsqfC.PhogvA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7ssYrmLHeWFmpybmyrTA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gIkW1O.nPvBhBtP_LTyA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nSndZMemy3UaXUWbTtA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v2Tmh9luVN2PjPmyZv8A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Z4SJ9ZvvTC.A9mEXhsOQ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FE5VBvd04hFH89JrfyLg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zv7W0BwjO8oIjyvHmg3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fVwMRjnMYKDEYZJAc_UA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gWrlpecb2bGjz1VueOEg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2u4tRO7oLMb85gyZqUHg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TLmFAxEuxMekdKDvq6aA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ZwlQoXfzrQm1jMSPhzgw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2xh4u9m5SUQXqsGGuYyQ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61NyqBay.cNz_nClUrB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3_c38_Ooyzmqb3X4vg7A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cCBlxA96moYcreA7k.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ldaiJ3YtiPOdsHYq6i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NxJcx1T2tPo5oS5kEDQ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H.L.ABCPM_qJ.pAMaGFw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oVEYbveUfxtGovsDnYw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UmHIxJt6zA59lSahVU3A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TlRVTId7HXhmd_2RbNQA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3dS4w8ihIw1BYHPUcgCg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MG_enETVD1JxQCKQqTA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OPIDmv8cnMrh5BKlQG0w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VyyTJAg_PCDQEzWir9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